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6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EB0000"/>
    <a:srgbClr val="F6F6F6"/>
    <a:srgbClr val="E5E5E5"/>
    <a:srgbClr val="C60018"/>
    <a:srgbClr val="8D8D8D"/>
    <a:srgbClr val="BDBDBD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9:48:27.825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9:48:27.825" v="5" actId="27918"/>
        <pc:sldMkLst>
          <pc:docMk/>
          <pc:sldMk cId="2868978950" sldId="41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taffed by SBB employee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74A4-4E7D-80F1-07B7494D0AF4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7-E537-4942-A851-DE6CE4B13D6F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76</c:v>
                </c:pt>
                <c:pt idx="1">
                  <c:v>170</c:v>
                </c:pt>
                <c:pt idx="2">
                  <c:v>166</c:v>
                </c:pt>
                <c:pt idx="3">
                  <c:v>156</c:v>
                </c:pt>
                <c:pt idx="4">
                  <c:v>145</c:v>
                </c:pt>
                <c:pt idx="5">
                  <c:v>144</c:v>
                </c:pt>
                <c:pt idx="6">
                  <c:v>143</c:v>
                </c:pt>
                <c:pt idx="7">
                  <c:v>130</c:v>
                </c:pt>
                <c:pt idx="8">
                  <c:v>121</c:v>
                </c:pt>
                <c:pt idx="9">
                  <c:v>121</c:v>
                </c:pt>
                <c:pt idx="10">
                  <c:v>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With self-servi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4A4-4E7D-80F1-07B7494D0AF4}"/>
              </c:ext>
            </c:extLst>
          </c:dPt>
          <c:dPt>
            <c:idx val="10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6-E537-4942-A851-DE6CE4B13D6F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491</c:v>
                </c:pt>
                <c:pt idx="1">
                  <c:v>501</c:v>
                </c:pt>
                <c:pt idx="2">
                  <c:v>505</c:v>
                </c:pt>
                <c:pt idx="3">
                  <c:v>515</c:v>
                </c:pt>
                <c:pt idx="4">
                  <c:v>530</c:v>
                </c:pt>
                <c:pt idx="5">
                  <c:v>548</c:v>
                </c:pt>
                <c:pt idx="6">
                  <c:v>576</c:v>
                </c:pt>
                <c:pt idx="7">
                  <c:v>588</c:v>
                </c:pt>
                <c:pt idx="8">
                  <c:v>595</c:v>
                </c:pt>
                <c:pt idx="9">
                  <c:v>590</c:v>
                </c:pt>
                <c:pt idx="10">
                  <c:v>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Staffed by agencies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53</c:v>
                </c:pt>
                <c:pt idx="1">
                  <c:v>50</c:v>
                </c:pt>
                <c:pt idx="2">
                  <c:v>49</c:v>
                </c:pt>
                <c:pt idx="3">
                  <c:v>48</c:v>
                </c:pt>
                <c:pt idx="4">
                  <c:v>46</c:v>
                </c:pt>
                <c:pt idx="5">
                  <c:v>27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8.5015491257104281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62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630374"/>
          <a:ext cx="79422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</a:rPr>
            <a:t>Number</a:t>
          </a:r>
          <a:endParaRPr lang="de-CH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340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84297535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IE"/>
              <a:t>SBB points of sale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57556" y="6056899"/>
            <a:ext cx="6453044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he number of points of sale within SBB cannot be considered in relation to the number of SBB train stations: sales points at stations whose infrastructure belongs to SBB may also be operated by transport companies other than SBB; in addition, SBB has points of sale that are not located in train stations (e.g. Genève Balexert) or that are not located in SBB stations (e.g. Konstanz)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22745" y="55899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68978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0DF54E3-6ABD-4314-91D8-1D3F3921B2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BB points of sa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points of sale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